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414" r:id="rId4"/>
  </p:sldMasterIdLst>
  <p:notesMasterIdLst>
    <p:notesMasterId r:id="rId10"/>
  </p:notesMasterIdLst>
  <p:sldIdLst>
    <p:sldId id="2134960581" r:id="rId5"/>
    <p:sldId id="2134960582" r:id="rId6"/>
    <p:sldId id="2134960583" r:id="rId7"/>
    <p:sldId id="2134960584" r:id="rId8"/>
    <p:sldId id="2134960585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3576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31C1C09-5B27-E7B9-E0C2-1C15196A4281}" name="Purwar, Sachin" initials="PS" userId="S::sachin.purwar@syneoshealth.com::b2b48672-420c-4664-b02c-063cc86fe2eb" providerId="AD"/>
  <p188:author id="{C4F1A01B-E2CD-E750-5580-86C9B9074C38}" name="Simberg, Gideon" initials="SG" userId="S::gideon.simberg@syneoshealth.com::79b0e029-96f5-4e43-ba80-2ac5a8ec9faf" providerId="AD"/>
  <p188:author id="{83CD4C3B-3694-AD72-C6E0-2F409E820BF3}" name="Sgualdino, Jacopo" initials="SJ" userId="S::jacopo.sgualdino@syneoshealth.com::991a77d0-b956-48a5-8dbd-51e0f5190386" providerId="AD"/>
  <p188:author id="{F2BBC5EC-6CC0-9411-51FB-EEA4AB3C7C81}" name="Laundon, George" initials="LG" userId="S::george.laundon@syneoshealth.com::b397a5f5-db60-4f87-9bed-0dcf51d1673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ndono, Marcos" initials="LM" lastIdx="1" clrIdx="0">
    <p:extLst>
      <p:ext uri="{19B8F6BF-5375-455C-9EA6-DF929625EA0E}">
        <p15:presenceInfo xmlns:p15="http://schemas.microsoft.com/office/powerpoint/2012/main" userId="S::marcos.londono@syneoshealth.com::b074b7b4-6bd4-4b66-97f0-b254d54ec5b0" providerId="AD"/>
      </p:ext>
    </p:extLst>
  </p:cmAuthor>
  <p:cmAuthor id="2" name="Sgualdino, Jacopo" initials="SJ" lastIdx="58" clrIdx="1">
    <p:extLst>
      <p:ext uri="{19B8F6BF-5375-455C-9EA6-DF929625EA0E}">
        <p15:presenceInfo xmlns:p15="http://schemas.microsoft.com/office/powerpoint/2012/main" userId="S::jacopo.sgualdino@syneoshealth.com::991a77d0-b956-48a5-8dbd-51e0f5190386" providerId="AD"/>
      </p:ext>
    </p:extLst>
  </p:cmAuthor>
  <p:cmAuthor id="3" name="Simberg, Gideon" initials="SG" lastIdx="5" clrIdx="2">
    <p:extLst>
      <p:ext uri="{19B8F6BF-5375-455C-9EA6-DF929625EA0E}">
        <p15:presenceInfo xmlns:p15="http://schemas.microsoft.com/office/powerpoint/2012/main" userId="S::gideon.simberg@syneoshealth.com::79b0e029-96f5-4e43-ba80-2ac5a8ec9faf" providerId="AD"/>
      </p:ext>
    </p:extLst>
  </p:cmAuthor>
  <p:cmAuthor id="4" name="Laundon, George" initials="LG" lastIdx="4" clrIdx="3">
    <p:extLst>
      <p:ext uri="{19B8F6BF-5375-455C-9EA6-DF929625EA0E}">
        <p15:presenceInfo xmlns:p15="http://schemas.microsoft.com/office/powerpoint/2012/main" userId="S::george.laundon@syneoshealth.com::b397a5f5-db60-4f87-9bed-0dcf51d167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DDE7"/>
    <a:srgbClr val="AE1545"/>
    <a:srgbClr val="E1395E"/>
    <a:srgbClr val="E4205E"/>
    <a:srgbClr val="E6E6E6"/>
    <a:srgbClr val="00AF50"/>
    <a:srgbClr val="20376E"/>
    <a:srgbClr val="91C35D"/>
    <a:srgbClr val="000000"/>
    <a:srgbClr val="9C9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56B64E-8672-E645-84B7-D02F26146511}" v="10" dt="2024-10-25T15:57:07.1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07" d="100"/>
          <a:sy n="107" d="100"/>
        </p:scale>
        <p:origin x="1280" y="472"/>
      </p:cViewPr>
      <p:guideLst>
        <p:guide orient="horz" pos="2160"/>
        <p:guide orient="horz" pos="357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bour, Duncan" userId="f8c76c83-f09a-4702-8a60-e00215c8b89f" providerId="ADAL" clId="{E056B64E-8672-E645-84B7-D02F26146511}"/>
    <pc:docChg chg="undo custSel modSld delMainMaster modMainMaster">
      <pc:chgData name="Arbour, Duncan" userId="f8c76c83-f09a-4702-8a60-e00215c8b89f" providerId="ADAL" clId="{E056B64E-8672-E645-84B7-D02F26146511}" dt="2024-10-25T15:57:16.941" v="68" actId="478"/>
      <pc:docMkLst>
        <pc:docMk/>
      </pc:docMkLst>
      <pc:sldChg chg="addSp delSp modSp mod">
        <pc:chgData name="Arbour, Duncan" userId="f8c76c83-f09a-4702-8a60-e00215c8b89f" providerId="ADAL" clId="{E056B64E-8672-E645-84B7-D02F26146511}" dt="2024-10-25T15:56:54.119" v="60" actId="1035"/>
        <pc:sldMkLst>
          <pc:docMk/>
          <pc:sldMk cId="2955747281" sldId="2134960571"/>
        </pc:sldMkLst>
        <pc:spChg chg="del mod">
          <ac:chgData name="Arbour, Duncan" userId="f8c76c83-f09a-4702-8a60-e00215c8b89f" providerId="ADAL" clId="{E056B64E-8672-E645-84B7-D02F26146511}" dt="2024-10-25T15:52:33.747" v="34" actId="478"/>
          <ac:spMkLst>
            <pc:docMk/>
            <pc:sldMk cId="2955747281" sldId="2134960571"/>
            <ac:spMk id="2" creationId="{379581BC-F7B0-4386-93A9-5ED11043E45C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2955747281" sldId="2134960571"/>
            <ac:spMk id="3" creationId="{E1F5FD94-0039-4142-B892-29826466D7CD}"/>
          </ac:spMkLst>
        </pc:spChg>
        <pc:spChg chg="add del mod">
          <ac:chgData name="Arbour, Duncan" userId="f8c76c83-f09a-4702-8a60-e00215c8b89f" providerId="ADAL" clId="{E056B64E-8672-E645-84B7-D02F26146511}" dt="2024-10-25T15:52:36.941" v="35" actId="478"/>
          <ac:spMkLst>
            <pc:docMk/>
            <pc:sldMk cId="2955747281" sldId="2134960571"/>
            <ac:spMk id="6" creationId="{05C7D8FB-5FD5-F553-4E83-682BD698275B}"/>
          </ac:spMkLst>
        </pc:spChg>
        <pc:spChg chg="mod">
          <ac:chgData name="Arbour, Duncan" userId="f8c76c83-f09a-4702-8a60-e00215c8b89f" providerId="ADAL" clId="{E056B64E-8672-E645-84B7-D02F26146511}" dt="2024-10-25T15:50:14.836" v="23" actId="20577"/>
          <ac:spMkLst>
            <pc:docMk/>
            <pc:sldMk cId="2955747281" sldId="2134960571"/>
            <ac:spMk id="7" creationId="{17BDD4E3-C6E3-4722-8C35-6A84ED493E08}"/>
          </ac:spMkLst>
        </pc:spChg>
        <pc:spChg chg="mod">
          <ac:chgData name="Arbour, Duncan" userId="f8c76c83-f09a-4702-8a60-e00215c8b89f" providerId="ADAL" clId="{E056B64E-8672-E645-84B7-D02F26146511}" dt="2024-10-25T15:27:56.327" v="3" actId="2711"/>
          <ac:spMkLst>
            <pc:docMk/>
            <pc:sldMk cId="2955747281" sldId="2134960571"/>
            <ac:spMk id="8" creationId="{20F793C3-477E-4B08-9C88-7B195F3EA759}"/>
          </ac:spMkLst>
        </pc:spChg>
        <pc:spChg chg="add mod">
          <ac:chgData name="Arbour, Duncan" userId="f8c76c83-f09a-4702-8a60-e00215c8b89f" providerId="ADAL" clId="{E056B64E-8672-E645-84B7-D02F26146511}" dt="2024-10-25T15:56:54.119" v="60" actId="1035"/>
          <ac:spMkLst>
            <pc:docMk/>
            <pc:sldMk cId="2955747281" sldId="2134960571"/>
            <ac:spMk id="9" creationId="{F2ACCEAC-0929-23F7-BD4E-88081EE9522C}"/>
          </ac:spMkLst>
        </pc:spChg>
      </pc:sldChg>
      <pc:sldChg chg="addSp delSp modSp mod">
        <pc:chgData name="Arbour, Duncan" userId="f8c76c83-f09a-4702-8a60-e00215c8b89f" providerId="ADAL" clId="{E056B64E-8672-E645-84B7-D02F26146511}" dt="2024-10-25T15:57:00.970" v="63"/>
        <pc:sldMkLst>
          <pc:docMk/>
          <pc:sldMk cId="3412317317" sldId="2134960572"/>
        </pc:sldMkLst>
        <pc:spChg chg="del mod">
          <ac:chgData name="Arbour, Duncan" userId="f8c76c83-f09a-4702-8a60-e00215c8b89f" providerId="ADAL" clId="{E056B64E-8672-E645-84B7-D02F26146511}" dt="2024-10-25T15:52:41.661" v="36" actId="478"/>
          <ac:spMkLst>
            <pc:docMk/>
            <pc:sldMk cId="3412317317" sldId="2134960572"/>
            <ac:spMk id="2" creationId="{C85E6E9C-E8E4-8E05-0B2D-731AB8882378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3412317317" sldId="2134960572"/>
            <ac:spMk id="3" creationId="{3EC63C91-4DF7-ED03-A74B-67989725C6EA}"/>
          </ac:spMkLst>
        </pc:spChg>
        <pc:spChg chg="add del mod">
          <ac:chgData name="Arbour, Duncan" userId="f8c76c83-f09a-4702-8a60-e00215c8b89f" providerId="ADAL" clId="{E056B64E-8672-E645-84B7-D02F26146511}" dt="2024-10-25T15:57:00.045" v="62" actId="478"/>
          <ac:spMkLst>
            <pc:docMk/>
            <pc:sldMk cId="3412317317" sldId="2134960572"/>
            <ac:spMk id="4" creationId="{47F914CF-C908-1056-C0DC-45508B461DF4}"/>
          </ac:spMkLst>
        </pc:spChg>
        <pc:spChg chg="add mod">
          <ac:chgData name="Arbour, Duncan" userId="f8c76c83-f09a-4702-8a60-e00215c8b89f" providerId="ADAL" clId="{E056B64E-8672-E645-84B7-D02F26146511}" dt="2024-10-25T15:57:00.970" v="63"/>
          <ac:spMkLst>
            <pc:docMk/>
            <pc:sldMk cId="3412317317" sldId="2134960572"/>
            <ac:spMk id="6" creationId="{1069FB06-AA98-0839-17EC-52013C4FD3EB}"/>
          </ac:spMkLst>
        </pc:spChg>
        <pc:spChg chg="add del mod">
          <ac:chgData name="Arbour, Duncan" userId="f8c76c83-f09a-4702-8a60-e00215c8b89f" providerId="ADAL" clId="{E056B64E-8672-E645-84B7-D02F26146511}" dt="2024-10-25T15:52:42.936" v="37" actId="478"/>
          <ac:spMkLst>
            <pc:docMk/>
            <pc:sldMk cId="3412317317" sldId="2134960572"/>
            <ac:spMk id="6" creationId="{77506078-0588-34E5-CA78-F8C2A61486FA}"/>
          </ac:spMkLst>
        </pc:spChg>
        <pc:spChg chg="mod">
          <ac:chgData name="Arbour, Duncan" userId="f8c76c83-f09a-4702-8a60-e00215c8b89f" providerId="ADAL" clId="{E056B64E-8672-E645-84B7-D02F26146511}" dt="2024-10-25T15:50:20.501" v="27" actId="20577"/>
          <ac:spMkLst>
            <pc:docMk/>
            <pc:sldMk cId="3412317317" sldId="2134960572"/>
            <ac:spMk id="7" creationId="{24B87C40-023A-0A76-B6FE-73DB6C02223E}"/>
          </ac:spMkLst>
        </pc:spChg>
        <pc:spChg chg="add del mod">
          <ac:chgData name="Arbour, Duncan" userId="f8c76c83-f09a-4702-8a60-e00215c8b89f" providerId="ADAL" clId="{E056B64E-8672-E645-84B7-D02F26146511}" dt="2024-10-25T15:56:58.287" v="61" actId="478"/>
          <ac:spMkLst>
            <pc:docMk/>
            <pc:sldMk cId="3412317317" sldId="2134960572"/>
            <ac:spMk id="9" creationId="{80D706DE-6697-3349-07A0-241F8AB9CD23}"/>
          </ac:spMkLst>
        </pc:spChg>
      </pc:sldChg>
      <pc:sldChg chg="addSp delSp modSp mod">
        <pc:chgData name="Arbour, Duncan" userId="f8c76c83-f09a-4702-8a60-e00215c8b89f" providerId="ADAL" clId="{E056B64E-8672-E645-84B7-D02F26146511}" dt="2024-10-25T15:57:07.124" v="66"/>
        <pc:sldMkLst>
          <pc:docMk/>
          <pc:sldMk cId="2614804901" sldId="2134960573"/>
        </pc:sldMkLst>
        <pc:spChg chg="del mod">
          <ac:chgData name="Arbour, Duncan" userId="f8c76c83-f09a-4702-8a60-e00215c8b89f" providerId="ADAL" clId="{E056B64E-8672-E645-84B7-D02F26146511}" dt="2024-10-25T15:52:46.392" v="38" actId="478"/>
          <ac:spMkLst>
            <pc:docMk/>
            <pc:sldMk cId="2614804901" sldId="2134960573"/>
            <ac:spMk id="2" creationId="{C8BD425F-FD92-677F-B822-2E32ED646D04}"/>
          </ac:spMkLst>
        </pc:spChg>
        <pc:spChg chg="mod">
          <ac:chgData name="Arbour, Duncan" userId="f8c76c83-f09a-4702-8a60-e00215c8b89f" providerId="ADAL" clId="{E056B64E-8672-E645-84B7-D02F26146511}" dt="2024-10-25T15:44:11.987" v="19"/>
          <ac:spMkLst>
            <pc:docMk/>
            <pc:sldMk cId="2614804901" sldId="2134960573"/>
            <ac:spMk id="3" creationId="{21CED155-22CE-C636-E092-4E341FA09E7C}"/>
          </ac:spMkLst>
        </pc:spChg>
        <pc:spChg chg="add del mod">
          <ac:chgData name="Arbour, Duncan" userId="f8c76c83-f09a-4702-8a60-e00215c8b89f" providerId="ADAL" clId="{E056B64E-8672-E645-84B7-D02F26146511}" dt="2024-10-25T15:57:06.538" v="65" actId="478"/>
          <ac:spMkLst>
            <pc:docMk/>
            <pc:sldMk cId="2614804901" sldId="2134960573"/>
            <ac:spMk id="4" creationId="{739E5E7E-B685-C9CD-B264-A8E38E6AA17C}"/>
          </ac:spMkLst>
        </pc:spChg>
        <pc:spChg chg="add del mod">
          <ac:chgData name="Arbour, Duncan" userId="f8c76c83-f09a-4702-8a60-e00215c8b89f" providerId="ADAL" clId="{E056B64E-8672-E645-84B7-D02F26146511}" dt="2024-10-25T15:52:49.012" v="39" actId="478"/>
          <ac:spMkLst>
            <pc:docMk/>
            <pc:sldMk cId="2614804901" sldId="2134960573"/>
            <ac:spMk id="6" creationId="{D3DC018E-5352-FF10-9EF6-2913C59EE586}"/>
          </ac:spMkLst>
        </pc:spChg>
        <pc:spChg chg="add mod">
          <ac:chgData name="Arbour, Duncan" userId="f8c76c83-f09a-4702-8a60-e00215c8b89f" providerId="ADAL" clId="{E056B64E-8672-E645-84B7-D02F26146511}" dt="2024-10-25T15:57:07.124" v="66"/>
          <ac:spMkLst>
            <pc:docMk/>
            <pc:sldMk cId="2614804901" sldId="2134960573"/>
            <ac:spMk id="6" creationId="{FE5E1F15-29D9-5845-6839-76C09C4311C9}"/>
          </ac:spMkLst>
        </pc:spChg>
        <pc:spChg chg="mod">
          <ac:chgData name="Arbour, Duncan" userId="f8c76c83-f09a-4702-8a60-e00215c8b89f" providerId="ADAL" clId="{E056B64E-8672-E645-84B7-D02F26146511}" dt="2024-10-25T15:50:27.413" v="33" actId="1076"/>
          <ac:spMkLst>
            <pc:docMk/>
            <pc:sldMk cId="2614804901" sldId="2134960573"/>
            <ac:spMk id="7" creationId="{785BF9C3-8475-8DD9-0AE5-2A636AB54D26}"/>
          </ac:spMkLst>
        </pc:spChg>
        <pc:spChg chg="add del mod">
          <ac:chgData name="Arbour, Duncan" userId="f8c76c83-f09a-4702-8a60-e00215c8b89f" providerId="ADAL" clId="{E056B64E-8672-E645-84B7-D02F26146511}" dt="2024-10-25T15:57:04.877" v="64" actId="478"/>
          <ac:spMkLst>
            <pc:docMk/>
            <pc:sldMk cId="2614804901" sldId="2134960573"/>
            <ac:spMk id="9" creationId="{1171F16F-86D0-3D87-294E-0CC6823435E2}"/>
          </ac:spMkLst>
        </pc:spChg>
      </pc:sldChg>
      <pc:sldMasterChg chg="del">
        <pc:chgData name="Arbour, Duncan" userId="f8c76c83-f09a-4702-8a60-e00215c8b89f" providerId="ADAL" clId="{E056B64E-8672-E645-84B7-D02F26146511}" dt="2024-10-25T15:43:38.413" v="7" actId="2696"/>
        <pc:sldMasterMkLst>
          <pc:docMk/>
          <pc:sldMasterMk cId="832573619" sldId="2147483821"/>
        </pc:sldMasterMkLst>
      </pc:sldMasterChg>
      <pc:sldMasterChg chg="del">
        <pc:chgData name="Arbour, Duncan" userId="f8c76c83-f09a-4702-8a60-e00215c8b89f" providerId="ADAL" clId="{E056B64E-8672-E645-84B7-D02F26146511}" dt="2024-10-25T15:43:38.655" v="8" actId="2696"/>
        <pc:sldMasterMkLst>
          <pc:docMk/>
          <pc:sldMasterMk cId="4112173850" sldId="2147483869"/>
        </pc:sldMasterMkLst>
      </pc:sldMasterChg>
      <pc:sldMasterChg chg="del">
        <pc:chgData name="Arbour, Duncan" userId="f8c76c83-f09a-4702-8a60-e00215c8b89f" providerId="ADAL" clId="{E056B64E-8672-E645-84B7-D02F26146511}" dt="2024-10-25T15:43:39.060" v="9" actId="2696"/>
        <pc:sldMasterMkLst>
          <pc:docMk/>
          <pc:sldMasterMk cId="2858793504" sldId="2147483917"/>
        </pc:sldMasterMkLst>
      </pc:sldMasterChg>
      <pc:sldMasterChg chg="del">
        <pc:chgData name="Arbour, Duncan" userId="f8c76c83-f09a-4702-8a60-e00215c8b89f" providerId="ADAL" clId="{E056B64E-8672-E645-84B7-D02F26146511}" dt="2024-10-25T15:43:39.278" v="10" actId="2696"/>
        <pc:sldMasterMkLst>
          <pc:docMk/>
          <pc:sldMasterMk cId="2165807686" sldId="2147483965"/>
        </pc:sldMasterMkLst>
      </pc:sldMasterChg>
      <pc:sldMasterChg chg="del">
        <pc:chgData name="Arbour, Duncan" userId="f8c76c83-f09a-4702-8a60-e00215c8b89f" providerId="ADAL" clId="{E056B64E-8672-E645-84B7-D02F26146511}" dt="2024-10-25T15:43:39.499" v="11" actId="2696"/>
        <pc:sldMasterMkLst>
          <pc:docMk/>
          <pc:sldMasterMk cId="3045685217" sldId="2147484013"/>
        </pc:sldMasterMkLst>
      </pc:sldMasterChg>
      <pc:sldMasterChg chg="del">
        <pc:chgData name="Arbour, Duncan" userId="f8c76c83-f09a-4702-8a60-e00215c8b89f" providerId="ADAL" clId="{E056B64E-8672-E645-84B7-D02F26146511}" dt="2024-10-25T15:43:39.737" v="12" actId="2696"/>
        <pc:sldMasterMkLst>
          <pc:docMk/>
          <pc:sldMasterMk cId="2477298670" sldId="2147484061"/>
        </pc:sldMasterMkLst>
      </pc:sldMasterChg>
      <pc:sldMasterChg chg="del">
        <pc:chgData name="Arbour, Duncan" userId="f8c76c83-f09a-4702-8a60-e00215c8b89f" providerId="ADAL" clId="{E056B64E-8672-E645-84B7-D02F26146511}" dt="2024-10-25T15:43:40.971" v="13" actId="2696"/>
        <pc:sldMasterMkLst>
          <pc:docMk/>
          <pc:sldMasterMk cId="2156635478" sldId="2147484109"/>
        </pc:sldMasterMkLst>
      </pc:sldMasterChg>
      <pc:sldMasterChg chg="del">
        <pc:chgData name="Arbour, Duncan" userId="f8c76c83-f09a-4702-8a60-e00215c8b89f" providerId="ADAL" clId="{E056B64E-8672-E645-84B7-D02F26146511}" dt="2024-10-25T15:43:41.774" v="14" actId="2696"/>
        <pc:sldMasterMkLst>
          <pc:docMk/>
          <pc:sldMasterMk cId="1746287878" sldId="2147484157"/>
        </pc:sldMasterMkLst>
      </pc:sldMasterChg>
      <pc:sldMasterChg chg="delSp mod modSldLayout">
        <pc:chgData name="Arbour, Duncan" userId="f8c76c83-f09a-4702-8a60-e00215c8b89f" providerId="ADAL" clId="{E056B64E-8672-E645-84B7-D02F26146511}" dt="2024-10-25T15:57:16.941" v="68" actId="478"/>
        <pc:sldMasterMkLst>
          <pc:docMk/>
          <pc:sldMasterMk cId="2043687406" sldId="2147484414"/>
        </pc:sldMasterMkLst>
        <pc:spChg chg="del">
          <ac:chgData name="Arbour, Duncan" userId="f8c76c83-f09a-4702-8a60-e00215c8b89f" providerId="ADAL" clId="{E056B64E-8672-E645-84B7-D02F26146511}" dt="2024-10-25T15:57:16.941" v="68" actId="478"/>
          <ac:spMkLst>
            <pc:docMk/>
            <pc:sldMasterMk cId="2043687406" sldId="2147484414"/>
            <ac:spMk id="2" creationId="{00000000-0000-0000-0000-000000000000}"/>
          </ac:spMkLst>
        </pc:spChg>
        <pc:sldLayoutChg chg="delSp mod">
          <pc:chgData name="Arbour, Duncan" userId="f8c76c83-f09a-4702-8a60-e00215c8b89f" providerId="ADAL" clId="{E056B64E-8672-E645-84B7-D02F26146511}" dt="2024-10-25T15:57:13.952" v="67" actId="478"/>
          <pc:sldLayoutMkLst>
            <pc:docMk/>
            <pc:sldMasterMk cId="2043687406" sldId="2147484414"/>
            <pc:sldLayoutMk cId="3839625836" sldId="2147484466"/>
          </pc:sldLayoutMkLst>
          <pc:spChg chg="del">
            <ac:chgData name="Arbour, Duncan" userId="f8c76c83-f09a-4702-8a60-e00215c8b89f" providerId="ADAL" clId="{E056B64E-8672-E645-84B7-D02F26146511}" dt="2024-10-25T15:57:13.952" v="67" actId="478"/>
            <ac:spMkLst>
              <pc:docMk/>
              <pc:sldMasterMk cId="2043687406" sldId="2147484414"/>
              <pc:sldLayoutMk cId="3839625836" sldId="2147484466"/>
              <ac:spMk id="2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91B42-7992-43C3-A15A-18DC7CF18A61}" type="datetimeFigureOut">
              <a:rPr lang="en-US" smtClean="0"/>
              <a:t>12/12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5ACFFD-4E7F-436E-B857-3414E8417E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706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DF025-51D7-535E-6BF2-9F4C2749E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6EBF67-AE73-9F75-FC7A-A30F2EFEC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3CE78E-7948-C1D2-D738-2E8B0EB635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E7DB9A-00DE-31DA-AD49-066F616300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174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9774E7-D833-6C2B-BEDF-4AAAC0774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740B8A-BE1C-B4E9-95B7-3E38DE9AAC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C18053-9A8E-E2BC-2889-C6E8010E30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E63172-A6FF-F55C-B6B7-81E293ADBA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294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713F3-DAE9-9264-DF20-1B25A37D31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297CB6-309F-3E04-0A41-6E1185142D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323904-F0C0-179B-CBC0-4E74A039D0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E3B142-09BF-02B3-F714-E1CEFE69A3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95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4EB3AE-076E-3DFC-22CA-9920D78A94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E8D111-DA72-1C80-B5BA-747B2E6241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0A4724-8FD0-09FD-B7CB-13A3D00083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328001-E649-FB82-D9E0-7D26B1EC3E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041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98F04-3540-A145-F002-934A600D60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B27FBD-1546-2ED1-9164-846294B713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61AB15-B704-215C-44F5-69D19F4234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B6363-56B8-5EDE-DEBF-7DB23326FB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5ACFFD-4E7F-436E-B857-3414E8417E8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820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02870C6-A8EE-314B-AD75-859576EE0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4426" y="6092825"/>
            <a:ext cx="9317988" cy="266093"/>
          </a:xfrm>
        </p:spPr>
        <p:txBody>
          <a:bodyPr bIns="36000"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cap="none">
                <a:solidFill>
                  <a:schemeClr val="tx1"/>
                </a:solidFill>
                <a:latin typeface="+mj-lt"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j-lt"/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9625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089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E4557987-9599-884A-89EF-5CAC6D60E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699" y="1582220"/>
            <a:ext cx="5262197" cy="45106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04368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</p:sldLayoutIdLst>
  <p:hf hdr="0" ftr="0" dt="0"/>
  <p:txStyles>
    <p:titleStyle>
      <a:lvl1pPr algn="l" defTabSz="914446" rtl="0" eaLnBrk="1" latinLnBrk="0" hangingPunct="1">
        <a:lnSpc>
          <a:spcPct val="80000"/>
        </a:lnSpc>
        <a:spcBef>
          <a:spcPct val="0"/>
        </a:spcBef>
        <a:buNone/>
        <a:defRPr sz="3600" b="0" i="0" kern="1200" cap="none" baseline="0">
          <a:solidFill>
            <a:schemeClr val="accent2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tabLst/>
        <a:defRPr sz="2000" b="0" i="0" kern="1200" cap="none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46" rtl="0" eaLnBrk="1" latinLnBrk="0" hangingPunct="1">
        <a:lnSpc>
          <a:spcPct val="100000"/>
        </a:lnSpc>
        <a:spcBef>
          <a:spcPts val="600"/>
        </a:spcBef>
        <a:spcAft>
          <a:spcPts val="200"/>
        </a:spcAft>
        <a:buFont typeface="Arial" panose="020B0604020202020204" pitchFamily="34" charset="0"/>
        <a:buNone/>
        <a:tabLst/>
        <a:defRPr sz="2000" b="0" i="0" kern="1200">
          <a:solidFill>
            <a:schemeClr val="accent2"/>
          </a:solidFill>
          <a:latin typeface="+mn-lt"/>
          <a:ea typeface="+mn-ea"/>
          <a:cs typeface="Calibri Light" panose="020F0302020204030204" pitchFamily="34" charset="0"/>
        </a:defRPr>
      </a:lvl2pPr>
      <a:lvl3pPr marL="296863" indent="-296863" algn="l" defTabSz="9144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20000"/>
        <a:buFont typeface="System Font Regular"/>
        <a:buChar char="—"/>
        <a:tabLst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tabLst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tabLst/>
        <a:defRPr sz="1600" b="0" i="0" kern="1200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7pPr>
      <a:lvl8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914446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84">
          <p15:clr>
            <a:srgbClr val="F26B43"/>
          </p15:clr>
        </p15:guide>
        <p15:guide id="7" pos="1381">
          <p15:clr>
            <a:srgbClr val="F26B43"/>
          </p15:clr>
        </p15:guide>
        <p15:guide id="8" pos="1502">
          <p15:clr>
            <a:srgbClr val="F26B43"/>
          </p15:clr>
        </p15:guide>
        <p15:guide id="9" pos="1982">
          <p15:clr>
            <a:srgbClr val="F26B43"/>
          </p15:clr>
        </p15:guide>
        <p15:guide id="10" pos="2099">
          <p15:clr>
            <a:srgbClr val="F26B43"/>
          </p15:clr>
        </p15:guide>
        <p15:guide id="11" pos="2582">
          <p15:clr>
            <a:srgbClr val="F26B43"/>
          </p15:clr>
        </p15:guide>
        <p15:guide id="12" pos="2699">
          <p15:clr>
            <a:srgbClr val="F26B43"/>
          </p15:clr>
        </p15:guide>
        <p15:guide id="13" pos="3180">
          <p15:clr>
            <a:srgbClr val="F26B43"/>
          </p15:clr>
        </p15:guide>
        <p15:guide id="14" pos="3300">
          <p15:clr>
            <a:srgbClr val="F26B43"/>
          </p15:clr>
        </p15:guide>
        <p15:guide id="15" pos="3780">
          <p15:clr>
            <a:srgbClr val="F26B43"/>
          </p15:clr>
        </p15:guide>
        <p15:guide id="16" pos="3898">
          <p15:clr>
            <a:srgbClr val="F26B43"/>
          </p15:clr>
        </p15:guide>
        <p15:guide id="17" pos="4379">
          <p15:clr>
            <a:srgbClr val="F26B43"/>
          </p15:clr>
        </p15:guide>
        <p15:guide id="18" pos="4500">
          <p15:clr>
            <a:srgbClr val="F26B43"/>
          </p15:clr>
        </p15:guide>
        <p15:guide id="19" pos="4979">
          <p15:clr>
            <a:srgbClr val="F26B43"/>
          </p15:clr>
        </p15:guide>
        <p15:guide id="20" pos="5096">
          <p15:clr>
            <a:srgbClr val="F26B43"/>
          </p15:clr>
        </p15:guide>
        <p15:guide id="21" pos="5578">
          <p15:clr>
            <a:srgbClr val="F26B43"/>
          </p15:clr>
        </p15:guide>
        <p15:guide id="22" pos="5696">
          <p15:clr>
            <a:srgbClr val="F26B43"/>
          </p15:clr>
        </p15:guide>
        <p15:guide id="23" pos="6180">
          <p15:clr>
            <a:srgbClr val="F26B43"/>
          </p15:clr>
        </p15:guide>
        <p15:guide id="24" pos="6296">
          <p15:clr>
            <a:srgbClr val="F26B43"/>
          </p15:clr>
        </p15:guide>
        <p15:guide id="25" pos="6778">
          <p15:clr>
            <a:srgbClr val="F26B43"/>
          </p15:clr>
        </p15:guide>
        <p15:guide id="26" pos="6896">
          <p15:clr>
            <a:srgbClr val="F26B43"/>
          </p15:clr>
        </p15:guide>
        <p15:guide id="27" pos="7378">
          <p15:clr>
            <a:srgbClr val="F26B43"/>
          </p15:clr>
        </p15:guide>
        <p15:guide id="30" orient="horz" pos="308">
          <p15:clr>
            <a:srgbClr val="F26B43"/>
          </p15:clr>
        </p15:guide>
        <p15:guide id="31" orient="horz" pos="990">
          <p15:clr>
            <a:srgbClr val="F26B43"/>
          </p15:clr>
        </p15:guide>
        <p15:guide id="32" orient="horz" pos="3838">
          <p15:clr>
            <a:srgbClr val="F26B43"/>
          </p15:clr>
        </p15:guide>
        <p15:guide id="33" orient="horz" pos="4080">
          <p15:clr>
            <a:srgbClr val="F26B43"/>
          </p15:clr>
        </p15:guide>
        <p15:guide id="34" pos="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26AD4-48FC-BE72-E35A-4388EE47A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F662E7-A67E-7FA1-7E4D-8DB9CE8724B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82C69A-261D-048D-21B5-AFB78A9F1A01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3BDD7B-7EC0-75F2-0E94-1624A4B5F4D9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6F4166-2AC0-DDC3-309B-189FC27D6E74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0A092F6-588B-EF36-260C-4D730899F48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130086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sz="2800" dirty="0" err="1">
                <a:solidFill>
                  <a:srgbClr val="FF0000"/>
                </a:solidFill>
              </a:rPr>
              <a:t>Slide_tit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851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0956C-2A2F-E28B-3E1C-6AE3849D32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916D8-78FE-E920-F890-5415FDB7C4B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C218BF-2019-D810-DA87-8BAFA018F6AE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7BA45-6C4A-D9E9-B82F-1B7EDC023501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14FE6D-4639-A3E7-4243-8844197B1E57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F9DDFFA-23FA-7706-E6C7-C8792C8A952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130086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sz="2800" dirty="0" err="1">
                <a:solidFill>
                  <a:srgbClr val="FF0000"/>
                </a:solidFill>
              </a:rPr>
              <a:t>Slide_tit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416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37E108-2018-0316-6DAE-ECD1C49702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2779C1-DE1B-286A-45D5-56CCDF3DC9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0AFCDC-49FB-71E8-EB43-D1DB782841C0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E297A3-DC75-FBC6-5B7B-B22735CC9131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BDC7C5-7FDF-C6C2-914F-7334E0854B9B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6DF9302-1E35-2334-ED71-3A1EB508EEC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130086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sz="2800" dirty="0" err="1">
                <a:solidFill>
                  <a:srgbClr val="FF0000"/>
                </a:solidFill>
              </a:rPr>
              <a:t>Slide_tit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285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DD924-625C-9C80-F0C4-A49AD05C3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DF413B-8D00-37FF-9C43-7ED48FC9EEB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E11296-E820-246A-16EB-1874338C70DC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4B4040-DFEC-7368-174B-D752874E2530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57C6D8-FA5E-4852-5504-58A03F89CC84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3360C1-DC4B-6CC2-2879-A5FB98739B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130086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sz="2800" dirty="0" err="1">
                <a:solidFill>
                  <a:srgbClr val="FF0000"/>
                </a:solidFill>
              </a:rPr>
              <a:t>Slide_tit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7239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1993A5-7432-E0C0-1550-FEEF09428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405078-7CD4-86A4-6C8E-020C0A01A2B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7389" y="6387728"/>
            <a:ext cx="245186" cy="16927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568E7-61F5-D04E-995D-81EF41C01A2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5A39D88-6A46-D1C6-3E96-75F8568EC907}"/>
              </a:ext>
            </a:extLst>
          </p:cNvPr>
          <p:cNvSpPr/>
          <p:nvPr/>
        </p:nvSpPr>
        <p:spPr>
          <a:xfrm>
            <a:off x="394449" y="1048026"/>
            <a:ext cx="11158142" cy="405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 Research Find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AA1687-A61D-0E72-6F7B-665752DE07D9}"/>
              </a:ext>
            </a:extLst>
          </p:cNvPr>
          <p:cNvSpPr/>
          <p:nvPr/>
        </p:nvSpPr>
        <p:spPr bwMode="auto">
          <a:xfrm>
            <a:off x="1994255" y="1502448"/>
            <a:ext cx="9558335" cy="48010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ey_research_find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0AD0FA-414D-6933-F13A-FD847A00D83F}"/>
              </a:ext>
            </a:extLst>
          </p:cNvPr>
          <p:cNvSpPr/>
          <p:nvPr/>
        </p:nvSpPr>
        <p:spPr bwMode="auto">
          <a:xfrm>
            <a:off x="394449" y="1499636"/>
            <a:ext cx="1493365" cy="4801054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Journey_pha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AA851F4-B2F6-A6A7-2855-B8C777EE939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9699" y="130086"/>
            <a:ext cx="11607800" cy="358951"/>
          </a:xfrm>
          <a:prstGeom prst="rect">
            <a:avLst/>
          </a:prstGeom>
        </p:spPr>
        <p:txBody>
          <a:bodyPr/>
          <a:lstStyle/>
          <a:p>
            <a:r>
              <a:rPr lang="en-US" sz="2800" dirty="0" err="1">
                <a:solidFill>
                  <a:srgbClr val="FF0000"/>
                </a:solidFill>
              </a:rPr>
              <a:t>Slide_tit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413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0_Office Theme">
  <a:themeElements>
    <a:clrScheme name="ObsEva 2020 - 3">
      <a:dk1>
        <a:srgbClr val="585858"/>
      </a:dk1>
      <a:lt1>
        <a:srgbClr val="FFFFFF"/>
      </a:lt1>
      <a:dk2>
        <a:srgbClr val="000000"/>
      </a:dk2>
      <a:lt2>
        <a:srgbClr val="FFFFFF"/>
      </a:lt2>
      <a:accent1>
        <a:srgbClr val="303B50"/>
      </a:accent1>
      <a:accent2>
        <a:srgbClr val="E4205E"/>
      </a:accent2>
      <a:accent3>
        <a:srgbClr val="20376E"/>
      </a:accent3>
      <a:accent4>
        <a:srgbClr val="00AF50"/>
      </a:accent4>
      <a:accent5>
        <a:srgbClr val="91C35D"/>
      </a:accent5>
      <a:accent6>
        <a:srgbClr val="9C9C9C"/>
      </a:accent6>
      <a:hlink>
        <a:srgbClr val="9C9C9C"/>
      </a:hlink>
      <a:folHlink>
        <a:srgbClr val="9C9C9C"/>
      </a:folHlink>
    </a:clrScheme>
    <a:fontScheme name="Office 2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libri Light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AED054BE-AFC8-0B4B-AF2C-3AC08DD6F4BF}" vid="{8933AAD9-6E9D-8740-A8C6-2F215A31E39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46_eb2022 xmlns="6dc91c6c-5e53-4c8c-a3fb-9caeae119bcb" xsi:nil="true"/>
    <lcf76f155ced4ddcb4097134ff3c332f xmlns="6dc91c6c-5e53-4c8c-a3fb-9caeae119bcb">
      <Terms xmlns="http://schemas.microsoft.com/office/infopath/2007/PartnerControls"/>
    </lcf76f155ced4ddcb4097134ff3c332f>
    <ServiceArea xmlns="6dc91c6c-5e53-4c8c-a3fb-9caeae119bcb" xsi:nil="true"/>
    <_x004a_an2022 xmlns="6dc91c6c-5e53-4c8c-a3fb-9caeae119bcb" xsi:nil="true"/>
    <TaxCatchAll xmlns="dc6f90a6-ed64-4feb-b6b9-579dc713ce07" xsi:nil="true"/>
    <Item xmlns="6dc91c6c-5e53-4c8c-a3fb-9caeae119bc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B8969B1D85ED468B4A32524C8EB467" ma:contentTypeVersion="16" ma:contentTypeDescription="Create a new document." ma:contentTypeScope="" ma:versionID="a3b12349738556000ad8855ecd2c393f">
  <xsd:schema xmlns:xsd="http://www.w3.org/2001/XMLSchema" xmlns:xs="http://www.w3.org/2001/XMLSchema" xmlns:p="http://schemas.microsoft.com/office/2006/metadata/properties" xmlns:ns2="6dc91c6c-5e53-4c8c-a3fb-9caeae119bcb" xmlns:ns3="dc6f90a6-ed64-4feb-b6b9-579dc713ce07" targetNamespace="http://schemas.microsoft.com/office/2006/metadata/properties" ma:root="true" ma:fieldsID="9a7505257c32dcded87cf9bed7810987" ns2:_="" ns3:_="">
    <xsd:import namespace="6dc91c6c-5e53-4c8c-a3fb-9caeae119bcb"/>
    <xsd:import namespace="dc6f90a6-ed64-4feb-b6b9-579dc713ce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Item" minOccurs="0"/>
                <xsd:element ref="ns2:ServiceArea" minOccurs="0"/>
                <xsd:element ref="ns2:_x004a_an2022" minOccurs="0"/>
                <xsd:element ref="ns2:_x0046_eb2022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91c6c-5e53-4c8c-a3fb-9caeae119b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Item" ma:index="12" nillable="true" ma:displayName="Item" ma:format="Dropdown" ma:internalName="Item">
      <xsd:simpleType>
        <xsd:restriction base="dms:Text">
          <xsd:maxLength value="255"/>
        </xsd:restriction>
      </xsd:simpleType>
    </xsd:element>
    <xsd:element name="ServiceArea" ma:index="13" nillable="true" ma:displayName="Service Area" ma:format="Dropdown" ma:internalName="ServiceArea">
      <xsd:simpleType>
        <xsd:restriction base="dms:Text">
          <xsd:maxLength value="255"/>
        </xsd:restriction>
      </xsd:simpleType>
    </xsd:element>
    <xsd:element name="_x004a_an2022" ma:index="14" nillable="true" ma:displayName="Jan 2022" ma:format="Dropdown" ma:internalName="_x004a_an2022" ma:percentage="FALSE">
      <xsd:simpleType>
        <xsd:restriction base="dms:Number"/>
      </xsd:simpleType>
    </xsd:element>
    <xsd:element name="_x0046_eb2022" ma:index="15" nillable="true" ma:displayName="Feb 2022" ma:format="Dropdown" ma:internalName="_x0046_eb2022" ma:percentage="FALSE">
      <xsd:simpleType>
        <xsd:restriction base="dms:Number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8aec5887-daab-4316-8b81-7ef05b7293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f90a6-ed64-4feb-b6b9-579dc713ce0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353440a7-24eb-42e4-b70c-d3747ca73f13}" ma:internalName="TaxCatchAll" ma:showField="CatchAllData" ma:web="dc6f90a6-ed64-4feb-b6b9-579dc713ce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9EFE3B-063C-44FB-A41B-368C8DBBC7F7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6dc91c6c-5e53-4c8c-a3fb-9caeae119bcb"/>
    <ds:schemaRef ds:uri="http://schemas.microsoft.com/office/2006/metadata/properties"/>
    <ds:schemaRef ds:uri="http://purl.org/dc/elements/1.1/"/>
    <ds:schemaRef ds:uri="http://schemas.microsoft.com/office/infopath/2007/PartnerControls"/>
    <ds:schemaRef ds:uri="dc6f90a6-ed64-4feb-b6b9-579dc713ce0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CB840CC-CBE4-4CF6-AB29-BDA7377F3D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028161-C513-42F7-802C-D4B318E22B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c91c6c-5e53-4c8c-a3fb-9caeae119bcb"/>
    <ds:schemaRef ds:uri="dc6f90a6-ed64-4feb-b6b9-579dc713ce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5</TotalTime>
  <Words>80</Words>
  <Application>Microsoft Macintosh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Source Sans Pro</vt:lpstr>
      <vt:lpstr>Calibri</vt:lpstr>
      <vt:lpstr>System Font Regular</vt:lpstr>
      <vt:lpstr>Calibri Light</vt:lpstr>
      <vt:lpstr>30_Office Theme</vt:lpstr>
      <vt:lpstr>think-cell Slide</vt:lpstr>
      <vt:lpstr>Slide_title</vt:lpstr>
      <vt:lpstr>Slide_title</vt:lpstr>
      <vt:lpstr>Slide_title</vt:lpstr>
      <vt:lpstr>Slide_title</vt:lpstr>
      <vt:lpstr>Slide_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 Patient Journey: Yselty</dc:title>
  <dc:creator>Bickerstaffe, Harry</dc:creator>
  <cp:lastModifiedBy>Arbour, Duncan</cp:lastModifiedBy>
  <cp:revision>8</cp:revision>
  <dcterms:created xsi:type="dcterms:W3CDTF">2021-11-23T10:54:20Z</dcterms:created>
  <dcterms:modified xsi:type="dcterms:W3CDTF">2024-12-12T07:2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C4B7768E2F304BA5CAD7417D65FD7100C92A2AAC0332A94CB59EF2E8D8D31C56</vt:lpwstr>
  </property>
</Properties>
</file>